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embeddings/oleObject4.bin" ContentType="application/vnd.openxmlformats-officedocument.oleObject"/>
  <Override PartName="/ppt/tags/tag8.xml" ContentType="application/vnd.openxmlformats-officedocument.presentationml.tags+xml"/>
  <Override PartName="/ppt/embeddings/oleObject5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3" r:id="rId3"/>
    <p:sldId id="264" r:id="rId4"/>
    <p:sldId id="257" r:id="rId5"/>
    <p:sldId id="258" r:id="rId6"/>
    <p:sldId id="259" r:id="rId7"/>
    <p:sldId id="260" r:id="rId8"/>
    <p:sldId id="265" r:id="rId9"/>
    <p:sldId id="266" r:id="rId10"/>
    <p:sldId id="267" r:id="rId11"/>
    <p:sldId id="268" r:id="rId12"/>
    <p:sldId id="269" r:id="rId13"/>
    <p:sldId id="270" r:id="rId14"/>
    <p:sldId id="271" r:id="rId15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CCFF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2304" y="-1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7329E1-6ABB-49FF-AEA1-D132AE718637}" type="doc">
      <dgm:prSet loTypeId="urn:microsoft.com/office/officeart/2009/layout/CircleArrowProcess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1FC87D-97A6-47B5-9BA1-B725071357A4}">
      <dgm:prSet phldrT="[Text]"/>
      <dgm:spPr/>
      <dgm:t>
        <a:bodyPr/>
        <a:lstStyle/>
        <a:p>
          <a:r>
            <a:rPr lang="en-US" dirty="0" smtClean="0"/>
            <a:t>Founders</a:t>
          </a:r>
          <a:endParaRPr lang="en-US" dirty="0"/>
        </a:p>
      </dgm:t>
    </dgm:pt>
    <dgm:pt modelId="{BEE7C3E4-EF84-49F9-AE5A-30BA99C90456}" type="parTrans" cxnId="{B9E19F45-27A8-40AD-B021-B77A45399F1E}">
      <dgm:prSet/>
      <dgm:spPr/>
      <dgm:t>
        <a:bodyPr/>
        <a:lstStyle/>
        <a:p>
          <a:endParaRPr lang="en-US"/>
        </a:p>
      </dgm:t>
    </dgm:pt>
    <dgm:pt modelId="{27750502-433A-4B0B-BAB9-05C61CE105F2}" type="sibTrans" cxnId="{B9E19F45-27A8-40AD-B021-B77A45399F1E}">
      <dgm:prSet/>
      <dgm:spPr/>
      <dgm:t>
        <a:bodyPr/>
        <a:lstStyle/>
        <a:p>
          <a:endParaRPr lang="en-US"/>
        </a:p>
      </dgm:t>
    </dgm:pt>
    <dgm:pt modelId="{3837E055-6BCC-4134-91D0-82C590ADEF5D}">
      <dgm:prSet phldrT="[Text]"/>
      <dgm:spPr/>
      <dgm:t>
        <a:bodyPr/>
        <a:lstStyle/>
        <a:p>
          <a:r>
            <a:rPr lang="en-US" dirty="0" smtClean="0"/>
            <a:t>Investors</a:t>
          </a:r>
          <a:endParaRPr lang="en-US" dirty="0"/>
        </a:p>
      </dgm:t>
    </dgm:pt>
    <dgm:pt modelId="{B769E258-AE15-47CC-99FB-0AD0FF8C038E}" type="parTrans" cxnId="{F57A2E35-8CCC-4BDD-A713-AED0C20F21F4}">
      <dgm:prSet/>
      <dgm:spPr/>
      <dgm:t>
        <a:bodyPr/>
        <a:lstStyle/>
        <a:p>
          <a:endParaRPr lang="en-US"/>
        </a:p>
      </dgm:t>
    </dgm:pt>
    <dgm:pt modelId="{3D42E481-48F1-40BA-8422-EC74B65C5FA8}" type="sibTrans" cxnId="{F57A2E35-8CCC-4BDD-A713-AED0C20F21F4}">
      <dgm:prSet/>
      <dgm:spPr/>
      <dgm:t>
        <a:bodyPr/>
        <a:lstStyle/>
        <a:p>
          <a:endParaRPr lang="en-US"/>
        </a:p>
      </dgm:t>
    </dgm:pt>
    <dgm:pt modelId="{FDF75082-6611-4F69-90B3-FA8A740B9110}">
      <dgm:prSet phldrT="[Text]"/>
      <dgm:spPr/>
      <dgm:t>
        <a:bodyPr/>
        <a:lstStyle/>
        <a:p>
          <a:r>
            <a:rPr lang="en-US" dirty="0" smtClean="0"/>
            <a:t>Users</a:t>
          </a:r>
          <a:endParaRPr lang="en-US" dirty="0"/>
        </a:p>
      </dgm:t>
    </dgm:pt>
    <dgm:pt modelId="{7FC005EC-76BC-4474-A1DD-495DED82F5D8}" type="parTrans" cxnId="{592C9BF5-22D3-438C-935A-B442268CFF21}">
      <dgm:prSet/>
      <dgm:spPr/>
      <dgm:t>
        <a:bodyPr/>
        <a:lstStyle/>
        <a:p>
          <a:endParaRPr lang="en-US"/>
        </a:p>
      </dgm:t>
    </dgm:pt>
    <dgm:pt modelId="{80912828-D9D4-4F1B-B402-8C6AE34DA183}" type="sibTrans" cxnId="{592C9BF5-22D3-438C-935A-B442268CFF21}">
      <dgm:prSet/>
      <dgm:spPr/>
      <dgm:t>
        <a:bodyPr/>
        <a:lstStyle/>
        <a:p>
          <a:endParaRPr lang="en-US"/>
        </a:p>
      </dgm:t>
    </dgm:pt>
    <dgm:pt modelId="{4E51778C-53C2-44D6-8F62-D0FB50E4D5F5}" type="pres">
      <dgm:prSet presAssocID="{D57329E1-6ABB-49FF-AEA1-D132AE718637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3B9738F-9BC9-4DF8-8512-99863A7648EB}" type="pres">
      <dgm:prSet presAssocID="{D81FC87D-97A6-47B5-9BA1-B725071357A4}" presName="Accent1" presStyleCnt="0"/>
      <dgm:spPr/>
    </dgm:pt>
    <dgm:pt modelId="{87830961-30FD-4662-ABCB-019E89ADB651}" type="pres">
      <dgm:prSet presAssocID="{D81FC87D-97A6-47B5-9BA1-B725071357A4}" presName="Accent" presStyleLbl="node1" presStyleIdx="0" presStyleCnt="3"/>
      <dgm:spPr/>
    </dgm:pt>
    <dgm:pt modelId="{E3AE2DC4-63CC-4704-8E0D-795A0B31C0FE}" type="pres">
      <dgm:prSet presAssocID="{D81FC87D-97A6-47B5-9BA1-B725071357A4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E8B370-8B8E-4D41-82F8-CAEDB1D57451}" type="pres">
      <dgm:prSet presAssocID="{3837E055-6BCC-4134-91D0-82C590ADEF5D}" presName="Accent2" presStyleCnt="0"/>
      <dgm:spPr/>
    </dgm:pt>
    <dgm:pt modelId="{A6C9F4AB-9D65-47BD-9F37-BFA12562ED4F}" type="pres">
      <dgm:prSet presAssocID="{3837E055-6BCC-4134-91D0-82C590ADEF5D}" presName="Accent" presStyleLbl="node1" presStyleIdx="1" presStyleCnt="3"/>
      <dgm:spPr/>
    </dgm:pt>
    <dgm:pt modelId="{8EEA922D-A3D0-452D-8C9B-7B8A12FD0691}" type="pres">
      <dgm:prSet presAssocID="{3837E055-6BCC-4134-91D0-82C590ADEF5D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0EBDB1-E0CF-48CD-B323-D7B4D25C4451}" type="pres">
      <dgm:prSet presAssocID="{FDF75082-6611-4F69-90B3-FA8A740B9110}" presName="Accent3" presStyleCnt="0"/>
      <dgm:spPr/>
    </dgm:pt>
    <dgm:pt modelId="{B9B71565-E178-4101-B751-D65A117C636E}" type="pres">
      <dgm:prSet presAssocID="{FDF75082-6611-4F69-90B3-FA8A740B9110}" presName="Accent" presStyleLbl="node1" presStyleIdx="2" presStyleCnt="3"/>
      <dgm:spPr/>
    </dgm:pt>
    <dgm:pt modelId="{940D8E56-9A0D-4BB6-AB2D-D5FCC559A3BF}" type="pres">
      <dgm:prSet presAssocID="{FDF75082-6611-4F69-90B3-FA8A740B9110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7A2E35-8CCC-4BDD-A713-AED0C20F21F4}" srcId="{D57329E1-6ABB-49FF-AEA1-D132AE718637}" destId="{3837E055-6BCC-4134-91D0-82C590ADEF5D}" srcOrd="1" destOrd="0" parTransId="{B769E258-AE15-47CC-99FB-0AD0FF8C038E}" sibTransId="{3D42E481-48F1-40BA-8422-EC74B65C5FA8}"/>
    <dgm:cxn modelId="{592C9BF5-22D3-438C-935A-B442268CFF21}" srcId="{D57329E1-6ABB-49FF-AEA1-D132AE718637}" destId="{FDF75082-6611-4F69-90B3-FA8A740B9110}" srcOrd="2" destOrd="0" parTransId="{7FC005EC-76BC-4474-A1DD-495DED82F5D8}" sibTransId="{80912828-D9D4-4F1B-B402-8C6AE34DA183}"/>
    <dgm:cxn modelId="{8FFBD930-E32A-4E9B-9C17-3454C779FE72}" type="presOf" srcId="{D81FC87D-97A6-47B5-9BA1-B725071357A4}" destId="{E3AE2DC4-63CC-4704-8E0D-795A0B31C0FE}" srcOrd="0" destOrd="0" presId="urn:microsoft.com/office/officeart/2009/layout/CircleArrowProcess"/>
    <dgm:cxn modelId="{10EB3F65-FD70-42A9-946F-F716AFAD8C9A}" type="presOf" srcId="{D57329E1-6ABB-49FF-AEA1-D132AE718637}" destId="{4E51778C-53C2-44D6-8F62-D0FB50E4D5F5}" srcOrd="0" destOrd="0" presId="urn:microsoft.com/office/officeart/2009/layout/CircleArrowProcess"/>
    <dgm:cxn modelId="{8CC3AB5F-253F-4758-A88C-AA612E0F914B}" type="presOf" srcId="{FDF75082-6611-4F69-90B3-FA8A740B9110}" destId="{940D8E56-9A0D-4BB6-AB2D-D5FCC559A3BF}" srcOrd="0" destOrd="0" presId="urn:microsoft.com/office/officeart/2009/layout/CircleArrowProcess"/>
    <dgm:cxn modelId="{B9E19F45-27A8-40AD-B021-B77A45399F1E}" srcId="{D57329E1-6ABB-49FF-AEA1-D132AE718637}" destId="{D81FC87D-97A6-47B5-9BA1-B725071357A4}" srcOrd="0" destOrd="0" parTransId="{BEE7C3E4-EF84-49F9-AE5A-30BA99C90456}" sibTransId="{27750502-433A-4B0B-BAB9-05C61CE105F2}"/>
    <dgm:cxn modelId="{97230B7D-31F9-47D4-BBF8-FD0FC07B5D0F}" type="presOf" srcId="{3837E055-6BCC-4134-91D0-82C590ADEF5D}" destId="{8EEA922D-A3D0-452D-8C9B-7B8A12FD0691}" srcOrd="0" destOrd="0" presId="urn:microsoft.com/office/officeart/2009/layout/CircleArrowProcess"/>
    <dgm:cxn modelId="{7D4A782B-3B9E-4997-8778-72CFD087A042}" type="presParOf" srcId="{4E51778C-53C2-44D6-8F62-D0FB50E4D5F5}" destId="{B3B9738F-9BC9-4DF8-8512-99863A7648EB}" srcOrd="0" destOrd="0" presId="urn:microsoft.com/office/officeart/2009/layout/CircleArrowProcess"/>
    <dgm:cxn modelId="{D190292E-B030-4C50-9366-D8431F9E58CB}" type="presParOf" srcId="{B3B9738F-9BC9-4DF8-8512-99863A7648EB}" destId="{87830961-30FD-4662-ABCB-019E89ADB651}" srcOrd="0" destOrd="0" presId="urn:microsoft.com/office/officeart/2009/layout/CircleArrowProcess"/>
    <dgm:cxn modelId="{6984D2B3-E5A8-4399-BEFC-65039A83AC2E}" type="presParOf" srcId="{4E51778C-53C2-44D6-8F62-D0FB50E4D5F5}" destId="{E3AE2DC4-63CC-4704-8E0D-795A0B31C0FE}" srcOrd="1" destOrd="0" presId="urn:microsoft.com/office/officeart/2009/layout/CircleArrowProcess"/>
    <dgm:cxn modelId="{0FEA9752-754A-4DA3-8F10-F70CBFCE5A94}" type="presParOf" srcId="{4E51778C-53C2-44D6-8F62-D0FB50E4D5F5}" destId="{17E8B370-8B8E-4D41-82F8-CAEDB1D57451}" srcOrd="2" destOrd="0" presId="urn:microsoft.com/office/officeart/2009/layout/CircleArrowProcess"/>
    <dgm:cxn modelId="{AFD024E2-EBF1-4C50-AB32-45B5A8C5B9C7}" type="presParOf" srcId="{17E8B370-8B8E-4D41-82F8-CAEDB1D57451}" destId="{A6C9F4AB-9D65-47BD-9F37-BFA12562ED4F}" srcOrd="0" destOrd="0" presId="urn:microsoft.com/office/officeart/2009/layout/CircleArrowProcess"/>
    <dgm:cxn modelId="{F32FB7B9-AF2A-4591-AD18-79AD9CD8F41D}" type="presParOf" srcId="{4E51778C-53C2-44D6-8F62-D0FB50E4D5F5}" destId="{8EEA922D-A3D0-452D-8C9B-7B8A12FD0691}" srcOrd="3" destOrd="0" presId="urn:microsoft.com/office/officeart/2009/layout/CircleArrowProcess"/>
    <dgm:cxn modelId="{5A657F41-8250-484B-AEAF-27BA05ADCD85}" type="presParOf" srcId="{4E51778C-53C2-44D6-8F62-D0FB50E4D5F5}" destId="{5F0EBDB1-E0CF-48CD-B323-D7B4D25C4451}" srcOrd="4" destOrd="0" presId="urn:microsoft.com/office/officeart/2009/layout/CircleArrowProcess"/>
    <dgm:cxn modelId="{C3EFA525-3D07-4867-882D-1328FAE68DE9}" type="presParOf" srcId="{5F0EBDB1-E0CF-48CD-B323-D7B4D25C4451}" destId="{B9B71565-E178-4101-B751-D65A117C636E}" srcOrd="0" destOrd="0" presId="urn:microsoft.com/office/officeart/2009/layout/CircleArrowProcess"/>
    <dgm:cxn modelId="{AECB64F2-ED03-4887-9360-AFCF8F6EF4C0}" type="presParOf" srcId="{4E51778C-53C2-44D6-8F62-D0FB50E4D5F5}" destId="{940D8E56-9A0D-4BB6-AB2D-D5FCC559A3BF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81218C-1B37-40BD-9DE1-82DDBEB5CC78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10A947-D042-4484-815B-ABE4F4C46F80}">
      <dgm:prSet phldrT="[Text]" phldr="1"/>
      <dgm:spPr/>
      <dgm:t>
        <a:bodyPr/>
        <a:lstStyle/>
        <a:p>
          <a:endParaRPr lang="en-US" dirty="0"/>
        </a:p>
      </dgm:t>
    </dgm:pt>
    <dgm:pt modelId="{F5317D76-5C34-4DE2-A595-F67BB0B5AFE9}" type="sibTrans" cxnId="{3E5B500C-C5A0-46D5-8183-72A5AF32FE39}">
      <dgm:prSet/>
      <dgm:spPr/>
      <dgm:t>
        <a:bodyPr/>
        <a:lstStyle/>
        <a:p>
          <a:endParaRPr lang="en-US"/>
        </a:p>
      </dgm:t>
    </dgm:pt>
    <dgm:pt modelId="{B8856389-969B-4556-B947-87A9E9C74CAE}" type="parTrans" cxnId="{3E5B500C-C5A0-46D5-8183-72A5AF32FE39}">
      <dgm:prSet/>
      <dgm:spPr/>
      <dgm:t>
        <a:bodyPr/>
        <a:lstStyle/>
        <a:p>
          <a:endParaRPr lang="en-US"/>
        </a:p>
      </dgm:t>
    </dgm:pt>
    <dgm:pt modelId="{DE126BA7-4B27-48C5-BFD9-3B21229BA32B}" type="pres">
      <dgm:prSet presAssocID="{6481218C-1B37-40BD-9DE1-82DDBEB5CC78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en-US"/>
        </a:p>
      </dgm:t>
    </dgm:pt>
    <dgm:pt modelId="{CF868587-C968-4EF8-9433-03DAD4C3BBCA}" type="pres">
      <dgm:prSet presAssocID="{6481218C-1B37-40BD-9DE1-82DDBEB5CC78}" presName="arrowNode" presStyleLbl="node1" presStyleIdx="0" presStyleCnt="1" custAng="13525007" custScaleX="64296" custScaleY="63606" custLinFactNeighborX="-44622" custLinFactNeighborY="-10869"/>
      <dgm:spPr/>
    </dgm:pt>
    <dgm:pt modelId="{A820F54B-5B11-4F17-A226-990E3E48FFB9}" type="pres">
      <dgm:prSet presAssocID="{B610A947-D042-4484-815B-ABE4F4C46F80}" presName="txNode1" presStyleLbl="revTx" presStyleIdx="0" presStyleCnt="1" custLinFactNeighborX="-80752" custLinFactNeighborY="-123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E5B500C-C5A0-46D5-8183-72A5AF32FE39}" srcId="{6481218C-1B37-40BD-9DE1-82DDBEB5CC78}" destId="{B610A947-D042-4484-815B-ABE4F4C46F80}" srcOrd="0" destOrd="0" parTransId="{B8856389-969B-4556-B947-87A9E9C74CAE}" sibTransId="{F5317D76-5C34-4DE2-A595-F67BB0B5AFE9}"/>
    <dgm:cxn modelId="{0C6D853D-899B-4BC7-A1FE-1D27CB05B367}" type="presOf" srcId="{B610A947-D042-4484-815B-ABE4F4C46F80}" destId="{A820F54B-5B11-4F17-A226-990E3E48FFB9}" srcOrd="0" destOrd="0" presId="urn:microsoft.com/office/officeart/2009/3/layout/DescendingProcess"/>
    <dgm:cxn modelId="{65369116-2BB4-4A8F-A9BB-429D06974017}" type="presOf" srcId="{6481218C-1B37-40BD-9DE1-82DDBEB5CC78}" destId="{DE126BA7-4B27-48C5-BFD9-3B21229BA32B}" srcOrd="0" destOrd="0" presId="urn:microsoft.com/office/officeart/2009/3/layout/DescendingProcess"/>
    <dgm:cxn modelId="{89E1967C-92E9-4E31-B6E5-2BDE10BDDF7A}" type="presParOf" srcId="{DE126BA7-4B27-48C5-BFD9-3B21229BA32B}" destId="{CF868587-C968-4EF8-9433-03DAD4C3BBCA}" srcOrd="0" destOrd="0" presId="urn:microsoft.com/office/officeart/2009/3/layout/DescendingProcess"/>
    <dgm:cxn modelId="{70CC4F9E-5E51-4F63-98E8-896B2D1B82E6}" type="presParOf" srcId="{DE126BA7-4B27-48C5-BFD9-3B21229BA32B}" destId="{A820F54B-5B11-4F17-A226-990E3E48FFB9}" srcOrd="1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F268FF-9DE8-4DFB-B8C1-D11F4B35A8FD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BDF0DAB4-D6E9-49CE-9270-DAC07B2C3053}">
      <dgm:prSet phldrT="[Text]"/>
      <dgm:spPr/>
      <dgm:t>
        <a:bodyPr/>
        <a:lstStyle/>
        <a:p>
          <a:r>
            <a:rPr lang="en-US" dirty="0" smtClean="0"/>
            <a:t>Mix and match to </a:t>
          </a:r>
          <a:r>
            <a:rPr lang="en-US" b="1" dirty="0" smtClean="0"/>
            <a:t>optimize</a:t>
          </a:r>
          <a:r>
            <a:rPr lang="en-US" dirty="0" smtClean="0"/>
            <a:t> founder’s terms</a:t>
          </a:r>
          <a:endParaRPr lang="en-US" dirty="0"/>
        </a:p>
      </dgm:t>
    </dgm:pt>
    <dgm:pt modelId="{FA2C0875-BB20-4CC5-A3C1-630CA1B4702A}" type="parTrans" cxnId="{8731C24E-40ED-4077-A295-D619E66C6AAA}">
      <dgm:prSet/>
      <dgm:spPr/>
      <dgm:t>
        <a:bodyPr/>
        <a:lstStyle/>
        <a:p>
          <a:endParaRPr lang="en-US"/>
        </a:p>
      </dgm:t>
    </dgm:pt>
    <dgm:pt modelId="{2F4FD47D-2819-4E9A-93EC-28CB4E89DDAE}" type="sibTrans" cxnId="{8731C24E-40ED-4077-A295-D619E66C6AAA}">
      <dgm:prSet/>
      <dgm:spPr/>
      <dgm:t>
        <a:bodyPr/>
        <a:lstStyle/>
        <a:p>
          <a:endParaRPr lang="en-US"/>
        </a:p>
      </dgm:t>
    </dgm:pt>
    <dgm:pt modelId="{C63B603F-C568-4AB7-B96B-DA8CF29E59A2}">
      <dgm:prSet phldrT="[Text]"/>
      <dgm:spPr/>
      <dgm:t>
        <a:bodyPr/>
        <a:lstStyle/>
        <a:p>
          <a:r>
            <a:rPr lang="en-US" dirty="0" smtClean="0"/>
            <a:t>Create the terms of use allowing the start up to </a:t>
          </a:r>
          <a:r>
            <a:rPr lang="en-US" b="1" dirty="0" smtClean="0"/>
            <a:t>START UP</a:t>
          </a:r>
          <a:r>
            <a:rPr lang="en-US" dirty="0" smtClean="0"/>
            <a:t> in a single day</a:t>
          </a:r>
          <a:endParaRPr lang="en-US" dirty="0"/>
        </a:p>
      </dgm:t>
    </dgm:pt>
    <dgm:pt modelId="{78A66D43-3D57-4CC9-B48C-BE4BA2967E25}" type="parTrans" cxnId="{1DBB946B-61A9-48E7-9E8C-9C72BDFED9B6}">
      <dgm:prSet/>
      <dgm:spPr/>
      <dgm:t>
        <a:bodyPr/>
        <a:lstStyle/>
        <a:p>
          <a:endParaRPr lang="en-US"/>
        </a:p>
      </dgm:t>
    </dgm:pt>
    <dgm:pt modelId="{04A833E8-D924-413D-9CE9-5ADE2DF40654}" type="sibTrans" cxnId="{1DBB946B-61A9-48E7-9E8C-9C72BDFED9B6}">
      <dgm:prSet/>
      <dgm:spPr/>
      <dgm:t>
        <a:bodyPr/>
        <a:lstStyle/>
        <a:p>
          <a:endParaRPr lang="en-US"/>
        </a:p>
      </dgm:t>
    </dgm:pt>
    <dgm:pt modelId="{2DADC933-1635-4EB1-B5E8-1C9C38359F92}">
      <dgm:prSet phldrT="[Text]"/>
      <dgm:spPr/>
      <dgm:t>
        <a:bodyPr/>
        <a:lstStyle/>
        <a:p>
          <a:r>
            <a:rPr lang="en-US" b="1" dirty="0" smtClean="0"/>
            <a:t>Analyze</a:t>
          </a:r>
          <a:r>
            <a:rPr lang="en-US" dirty="0" smtClean="0"/>
            <a:t>, </a:t>
          </a:r>
          <a:r>
            <a:rPr lang="en-US" b="1" dirty="0" smtClean="0"/>
            <a:t>invest</a:t>
          </a:r>
          <a:r>
            <a:rPr lang="en-US" dirty="0" smtClean="0"/>
            <a:t>, and </a:t>
          </a:r>
          <a:r>
            <a:rPr lang="en-US" b="1" dirty="0" smtClean="0"/>
            <a:t>dynamically</a:t>
          </a:r>
          <a:r>
            <a:rPr lang="en-US" dirty="0" smtClean="0"/>
            <a:t> update ownership and organization as the business evolves through rounds of traditional financing and </a:t>
          </a:r>
          <a:r>
            <a:rPr lang="en-US" b="1" dirty="0" smtClean="0"/>
            <a:t>crowd funding</a:t>
          </a:r>
          <a:endParaRPr lang="en-US" b="1" dirty="0"/>
        </a:p>
      </dgm:t>
    </dgm:pt>
    <dgm:pt modelId="{A47DC5C2-58E8-4511-AEB9-71EB0118BF31}" type="parTrans" cxnId="{B44CBEE5-43A6-4EA8-9536-FCD3D0118FD3}">
      <dgm:prSet/>
      <dgm:spPr/>
      <dgm:t>
        <a:bodyPr/>
        <a:lstStyle/>
        <a:p>
          <a:endParaRPr lang="en-US"/>
        </a:p>
      </dgm:t>
    </dgm:pt>
    <dgm:pt modelId="{5CAF8028-F69F-42E3-A649-C1A750DFEE50}" type="sibTrans" cxnId="{B44CBEE5-43A6-4EA8-9536-FCD3D0118FD3}">
      <dgm:prSet/>
      <dgm:spPr/>
      <dgm:t>
        <a:bodyPr/>
        <a:lstStyle/>
        <a:p>
          <a:endParaRPr lang="en-US"/>
        </a:p>
      </dgm:t>
    </dgm:pt>
    <dgm:pt modelId="{68020141-CDAA-4744-BB1A-37643043C260}">
      <dgm:prSet phldrT="[Text]"/>
      <dgm:spPr/>
      <dgm:t>
        <a:bodyPr/>
        <a:lstStyle/>
        <a:p>
          <a:r>
            <a:rPr lang="en-US" b="1" dirty="0" smtClean="0"/>
            <a:t>Choose</a:t>
          </a:r>
          <a:r>
            <a:rPr lang="en-US" dirty="0" smtClean="0"/>
            <a:t> the best form of business association </a:t>
          </a:r>
          <a:endParaRPr lang="en-US" dirty="0"/>
        </a:p>
      </dgm:t>
    </dgm:pt>
    <dgm:pt modelId="{78F58555-E357-4C71-996F-CF1F7C6C575D}" type="parTrans" cxnId="{8B48668C-2F19-4206-8BB2-8363CFBBC4A7}">
      <dgm:prSet/>
      <dgm:spPr/>
      <dgm:t>
        <a:bodyPr/>
        <a:lstStyle/>
        <a:p>
          <a:endParaRPr lang="en-US"/>
        </a:p>
      </dgm:t>
    </dgm:pt>
    <dgm:pt modelId="{77B766F9-610A-4012-8B08-9ACE364F0DFA}" type="sibTrans" cxnId="{8B48668C-2F19-4206-8BB2-8363CFBBC4A7}">
      <dgm:prSet/>
      <dgm:spPr/>
      <dgm:t>
        <a:bodyPr/>
        <a:lstStyle/>
        <a:p>
          <a:endParaRPr lang="en-US"/>
        </a:p>
      </dgm:t>
    </dgm:pt>
    <dgm:pt modelId="{FDB2D600-B9DB-48B6-B5A8-1D3823858C49}" type="pres">
      <dgm:prSet presAssocID="{20F268FF-9DE8-4DFB-B8C1-D11F4B35A8FD}" presName="arrowDiagram" presStyleCnt="0">
        <dgm:presLayoutVars>
          <dgm:chMax val="5"/>
          <dgm:dir/>
          <dgm:resizeHandles val="exact"/>
        </dgm:presLayoutVars>
      </dgm:prSet>
      <dgm:spPr/>
    </dgm:pt>
    <dgm:pt modelId="{5FE476A7-3FEB-489A-88B0-999EF4E080D4}" type="pres">
      <dgm:prSet presAssocID="{20F268FF-9DE8-4DFB-B8C1-D11F4B35A8FD}" presName="arrow" presStyleLbl="bgShp" presStyleIdx="0" presStyleCnt="1" custLinFactNeighborY="-4545"/>
      <dgm:spPr/>
    </dgm:pt>
    <dgm:pt modelId="{1965C6C3-3076-48F2-B734-ACB874C8E75F}" type="pres">
      <dgm:prSet presAssocID="{20F268FF-9DE8-4DFB-B8C1-D11F4B35A8FD}" presName="arrowDiagram4" presStyleCnt="0"/>
      <dgm:spPr/>
    </dgm:pt>
    <dgm:pt modelId="{289ED55D-9210-4586-ADBA-5E51955A1805}" type="pres">
      <dgm:prSet presAssocID="{BDF0DAB4-D6E9-49CE-9270-DAC07B2C3053}" presName="bullet4a" presStyleLbl="node1" presStyleIdx="0" presStyleCnt="4"/>
      <dgm:spPr/>
    </dgm:pt>
    <dgm:pt modelId="{DEA76F9B-946E-4CD5-ADAE-75B410B00CCC}" type="pres">
      <dgm:prSet presAssocID="{BDF0DAB4-D6E9-49CE-9270-DAC07B2C3053}" presName="textBox4a" presStyleLbl="revTx" presStyleIdx="0" presStyleCnt="4" custLinFactY="-31474" custLinFactNeighborX="-64327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43D648-910D-4DFF-B891-3EC30010240D}" type="pres">
      <dgm:prSet presAssocID="{68020141-CDAA-4744-BB1A-37643043C260}" presName="bullet4b" presStyleLbl="node1" presStyleIdx="1" presStyleCnt="4"/>
      <dgm:spPr/>
    </dgm:pt>
    <dgm:pt modelId="{A7090C8F-67F2-40FD-B525-DDDD9A93658C}" type="pres">
      <dgm:prSet presAssocID="{68020141-CDAA-4744-BB1A-37643043C260}" presName="textBox4b" presStyleLbl="revTx" presStyleIdx="1" presStyleCnt="4" custScaleY="79801" custLinFactNeighborX="-29913" custLinFactNeighborY="75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29F1DF-0670-421B-B796-B256440B1401}" type="pres">
      <dgm:prSet presAssocID="{C63B603F-C568-4AB7-B96B-DA8CF29E59A2}" presName="bullet4c" presStyleLbl="node1" presStyleIdx="2" presStyleCnt="4"/>
      <dgm:spPr/>
    </dgm:pt>
    <dgm:pt modelId="{7A149A7E-BD17-4A34-ACD3-8BFBAB114421}" type="pres">
      <dgm:prSet presAssocID="{C63B603F-C568-4AB7-B96B-DA8CF29E59A2}" presName="textBox4c" presStyleLbl="revTx" presStyleIdx="2" presStyleCnt="4" custLinFactX="-5844" custLinFactNeighborX="-100000" custLinFactNeighborY="-5975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45BB59-889E-4167-B241-F2DD6C405CC6}" type="pres">
      <dgm:prSet presAssocID="{2DADC933-1635-4EB1-B5E8-1C9C38359F92}" presName="bullet4d" presStyleLbl="node1" presStyleIdx="3" presStyleCnt="4"/>
      <dgm:spPr/>
    </dgm:pt>
    <dgm:pt modelId="{02BA6D95-2417-4BD1-82EB-D4DE4EF002F5}" type="pres">
      <dgm:prSet presAssocID="{2DADC933-1635-4EB1-B5E8-1C9C38359F92}" presName="textBox4d" presStyleLbl="revTx" presStyleIdx="3" presStyleCnt="4" custLinFactNeighborX="-22527" custLinFactNeighborY="109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A6E5FF9-2201-4EE8-8ACE-925F46DF6B9E}" type="presOf" srcId="{2DADC933-1635-4EB1-B5E8-1C9C38359F92}" destId="{02BA6D95-2417-4BD1-82EB-D4DE4EF002F5}" srcOrd="0" destOrd="0" presId="urn:microsoft.com/office/officeart/2005/8/layout/arrow2"/>
    <dgm:cxn modelId="{B44CBEE5-43A6-4EA8-9536-FCD3D0118FD3}" srcId="{20F268FF-9DE8-4DFB-B8C1-D11F4B35A8FD}" destId="{2DADC933-1635-4EB1-B5E8-1C9C38359F92}" srcOrd="3" destOrd="0" parTransId="{A47DC5C2-58E8-4511-AEB9-71EB0118BF31}" sibTransId="{5CAF8028-F69F-42E3-A649-C1A750DFEE50}"/>
    <dgm:cxn modelId="{8731C24E-40ED-4077-A295-D619E66C6AAA}" srcId="{20F268FF-9DE8-4DFB-B8C1-D11F4B35A8FD}" destId="{BDF0DAB4-D6E9-49CE-9270-DAC07B2C3053}" srcOrd="0" destOrd="0" parTransId="{FA2C0875-BB20-4CC5-A3C1-630CA1B4702A}" sibTransId="{2F4FD47D-2819-4E9A-93EC-28CB4E89DDAE}"/>
    <dgm:cxn modelId="{60C2E299-9F62-4A2C-84AD-55D021272BD7}" type="presOf" srcId="{C63B603F-C568-4AB7-B96B-DA8CF29E59A2}" destId="{7A149A7E-BD17-4A34-ACD3-8BFBAB114421}" srcOrd="0" destOrd="0" presId="urn:microsoft.com/office/officeart/2005/8/layout/arrow2"/>
    <dgm:cxn modelId="{6006B7DB-C934-4D22-87F9-3FD2F39E7237}" type="presOf" srcId="{20F268FF-9DE8-4DFB-B8C1-D11F4B35A8FD}" destId="{FDB2D600-B9DB-48B6-B5A8-1D3823858C49}" srcOrd="0" destOrd="0" presId="urn:microsoft.com/office/officeart/2005/8/layout/arrow2"/>
    <dgm:cxn modelId="{8B48668C-2F19-4206-8BB2-8363CFBBC4A7}" srcId="{20F268FF-9DE8-4DFB-B8C1-D11F4B35A8FD}" destId="{68020141-CDAA-4744-BB1A-37643043C260}" srcOrd="1" destOrd="0" parTransId="{78F58555-E357-4C71-996F-CF1F7C6C575D}" sibTransId="{77B766F9-610A-4012-8B08-9ACE364F0DFA}"/>
    <dgm:cxn modelId="{3D041CCF-26D6-429E-8F42-B3E5E379C021}" type="presOf" srcId="{BDF0DAB4-D6E9-49CE-9270-DAC07B2C3053}" destId="{DEA76F9B-946E-4CD5-ADAE-75B410B00CCC}" srcOrd="0" destOrd="0" presId="urn:microsoft.com/office/officeart/2005/8/layout/arrow2"/>
    <dgm:cxn modelId="{1DBB946B-61A9-48E7-9E8C-9C72BDFED9B6}" srcId="{20F268FF-9DE8-4DFB-B8C1-D11F4B35A8FD}" destId="{C63B603F-C568-4AB7-B96B-DA8CF29E59A2}" srcOrd="2" destOrd="0" parTransId="{78A66D43-3D57-4CC9-B48C-BE4BA2967E25}" sibTransId="{04A833E8-D924-413D-9CE9-5ADE2DF40654}"/>
    <dgm:cxn modelId="{FC7AA173-C1BC-4B1A-B23B-A5A78822B51A}" type="presOf" srcId="{68020141-CDAA-4744-BB1A-37643043C260}" destId="{A7090C8F-67F2-40FD-B525-DDDD9A93658C}" srcOrd="0" destOrd="0" presId="urn:microsoft.com/office/officeart/2005/8/layout/arrow2"/>
    <dgm:cxn modelId="{168E8133-6D37-4373-971B-F0CA57AE536B}" type="presParOf" srcId="{FDB2D600-B9DB-48B6-B5A8-1D3823858C49}" destId="{5FE476A7-3FEB-489A-88B0-999EF4E080D4}" srcOrd="0" destOrd="0" presId="urn:microsoft.com/office/officeart/2005/8/layout/arrow2"/>
    <dgm:cxn modelId="{2046B250-61A1-4376-9799-BA46DCC0F599}" type="presParOf" srcId="{FDB2D600-B9DB-48B6-B5A8-1D3823858C49}" destId="{1965C6C3-3076-48F2-B734-ACB874C8E75F}" srcOrd="1" destOrd="0" presId="urn:microsoft.com/office/officeart/2005/8/layout/arrow2"/>
    <dgm:cxn modelId="{415E8EE1-4D7B-4B64-91B2-337A9454EA1D}" type="presParOf" srcId="{1965C6C3-3076-48F2-B734-ACB874C8E75F}" destId="{289ED55D-9210-4586-ADBA-5E51955A1805}" srcOrd="0" destOrd="0" presId="urn:microsoft.com/office/officeart/2005/8/layout/arrow2"/>
    <dgm:cxn modelId="{07A81B9A-918D-4511-BCD6-3827D4B68FAD}" type="presParOf" srcId="{1965C6C3-3076-48F2-B734-ACB874C8E75F}" destId="{DEA76F9B-946E-4CD5-ADAE-75B410B00CCC}" srcOrd="1" destOrd="0" presId="urn:microsoft.com/office/officeart/2005/8/layout/arrow2"/>
    <dgm:cxn modelId="{C591A1FF-43E1-4BAA-8BE8-CF630C25CB56}" type="presParOf" srcId="{1965C6C3-3076-48F2-B734-ACB874C8E75F}" destId="{F943D648-910D-4DFF-B891-3EC30010240D}" srcOrd="2" destOrd="0" presId="urn:microsoft.com/office/officeart/2005/8/layout/arrow2"/>
    <dgm:cxn modelId="{854B1CF3-4095-4161-8C73-3DE940068FA6}" type="presParOf" srcId="{1965C6C3-3076-48F2-B734-ACB874C8E75F}" destId="{A7090C8F-67F2-40FD-B525-DDDD9A93658C}" srcOrd="3" destOrd="0" presId="urn:microsoft.com/office/officeart/2005/8/layout/arrow2"/>
    <dgm:cxn modelId="{1CBFD436-1D41-47D6-B761-BA19889D53AE}" type="presParOf" srcId="{1965C6C3-3076-48F2-B734-ACB874C8E75F}" destId="{3029F1DF-0670-421B-B796-B256440B1401}" srcOrd="4" destOrd="0" presId="urn:microsoft.com/office/officeart/2005/8/layout/arrow2"/>
    <dgm:cxn modelId="{97FE6905-D000-471C-BDC9-6C0B7F49AC99}" type="presParOf" srcId="{1965C6C3-3076-48F2-B734-ACB874C8E75F}" destId="{7A149A7E-BD17-4A34-ACD3-8BFBAB114421}" srcOrd="5" destOrd="0" presId="urn:microsoft.com/office/officeart/2005/8/layout/arrow2"/>
    <dgm:cxn modelId="{01FEA9BB-334D-4649-9F62-BE4043B02D83}" type="presParOf" srcId="{1965C6C3-3076-48F2-B734-ACB874C8E75F}" destId="{DF45BB59-889E-4167-B241-F2DD6C405CC6}" srcOrd="6" destOrd="0" presId="urn:microsoft.com/office/officeart/2005/8/layout/arrow2"/>
    <dgm:cxn modelId="{70181C89-D80B-4196-801A-D6E118FBC311}" type="presParOf" srcId="{1965C6C3-3076-48F2-B734-ACB874C8E75F}" destId="{02BA6D95-2417-4BD1-82EB-D4DE4EF002F5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830961-30FD-4662-ABCB-019E89ADB651}">
      <dsp:nvSpPr>
        <dsp:cNvPr id="0" name=""/>
        <dsp:cNvSpPr/>
      </dsp:nvSpPr>
      <dsp:spPr>
        <a:xfrm>
          <a:off x="2582459" y="0"/>
          <a:ext cx="2555171" cy="255556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AE2DC4-63CC-4704-8E0D-795A0B31C0FE}">
      <dsp:nvSpPr>
        <dsp:cNvPr id="0" name=""/>
        <dsp:cNvSpPr/>
      </dsp:nvSpPr>
      <dsp:spPr>
        <a:xfrm>
          <a:off x="3147236" y="922634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Founders</a:t>
          </a:r>
          <a:endParaRPr lang="en-US" sz="2700" kern="1200" dirty="0"/>
        </a:p>
      </dsp:txBody>
      <dsp:txXfrm>
        <a:off x="3147236" y="922634"/>
        <a:ext cx="1419859" cy="709759"/>
      </dsp:txXfrm>
    </dsp:sp>
    <dsp:sp modelId="{A6C9F4AB-9D65-47BD-9F37-BFA12562ED4F}">
      <dsp:nvSpPr>
        <dsp:cNvPr id="0" name=""/>
        <dsp:cNvSpPr/>
      </dsp:nvSpPr>
      <dsp:spPr>
        <a:xfrm>
          <a:off x="1872769" y="1468358"/>
          <a:ext cx="2555171" cy="255556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EA922D-A3D0-452D-8C9B-7B8A12FD0691}">
      <dsp:nvSpPr>
        <dsp:cNvPr id="0" name=""/>
        <dsp:cNvSpPr/>
      </dsp:nvSpPr>
      <dsp:spPr>
        <a:xfrm>
          <a:off x="2440425" y="2399487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estors</a:t>
          </a:r>
          <a:endParaRPr lang="en-US" sz="2700" kern="1200" dirty="0"/>
        </a:p>
      </dsp:txBody>
      <dsp:txXfrm>
        <a:off x="2440425" y="2399487"/>
        <a:ext cx="1419859" cy="709759"/>
      </dsp:txXfrm>
    </dsp:sp>
    <dsp:sp modelId="{B9B71565-E178-4101-B751-D65A117C636E}">
      <dsp:nvSpPr>
        <dsp:cNvPr id="0" name=""/>
        <dsp:cNvSpPr/>
      </dsp:nvSpPr>
      <dsp:spPr>
        <a:xfrm>
          <a:off x="2764320" y="3112432"/>
          <a:ext cx="2195287" cy="219616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0D8E56-9A0D-4BB6-AB2D-D5FCC559A3BF}">
      <dsp:nvSpPr>
        <dsp:cNvPr id="0" name=""/>
        <dsp:cNvSpPr/>
      </dsp:nvSpPr>
      <dsp:spPr>
        <a:xfrm>
          <a:off x="3150595" y="3878463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Users</a:t>
          </a:r>
          <a:endParaRPr lang="en-US" sz="2700" kern="1200" dirty="0"/>
        </a:p>
      </dsp:txBody>
      <dsp:txXfrm>
        <a:off x="3150595" y="3878463"/>
        <a:ext cx="1419859" cy="7097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868587-C968-4EF8-9433-03DAD4C3BBCA}">
      <dsp:nvSpPr>
        <dsp:cNvPr id="0" name=""/>
        <dsp:cNvSpPr/>
      </dsp:nvSpPr>
      <dsp:spPr>
        <a:xfrm rot="17921381">
          <a:off x="460913" y="1570413"/>
          <a:ext cx="2987827" cy="2126798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20F54B-5B11-4F17-A226-990E3E48FFB9}">
      <dsp:nvSpPr>
        <dsp:cNvPr id="0" name=""/>
        <dsp:cNvSpPr/>
      </dsp:nvSpPr>
      <dsp:spPr>
        <a:xfrm>
          <a:off x="0" y="389274"/>
          <a:ext cx="2222627" cy="87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040" tIns="66040" rIns="66040" bIns="66040" numCol="1" spcCol="1270" anchor="b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200" kern="1200" dirty="0"/>
        </a:p>
      </dsp:txBody>
      <dsp:txXfrm>
        <a:off x="0" y="389274"/>
        <a:ext cx="2222627" cy="8737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E476A7-3FEB-489A-88B0-999EF4E080D4}">
      <dsp:nvSpPr>
        <dsp:cNvPr id="0" name=""/>
        <dsp:cNvSpPr/>
      </dsp:nvSpPr>
      <dsp:spPr>
        <a:xfrm>
          <a:off x="0" y="228623"/>
          <a:ext cx="8382000" cy="523875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ED55D-9210-4586-ADBA-5E51955A1805}">
      <dsp:nvSpPr>
        <dsp:cNvPr id="0" name=""/>
        <dsp:cNvSpPr/>
      </dsp:nvSpPr>
      <dsp:spPr>
        <a:xfrm>
          <a:off x="825627" y="4362259"/>
          <a:ext cx="192786" cy="19278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A76F9B-946E-4CD5-ADAE-75B410B00CCC}">
      <dsp:nvSpPr>
        <dsp:cNvPr id="0" name=""/>
        <dsp:cNvSpPr/>
      </dsp:nvSpPr>
      <dsp:spPr>
        <a:xfrm>
          <a:off x="6" y="2819405"/>
          <a:ext cx="1433322" cy="1246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153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ix and match to </a:t>
          </a:r>
          <a:r>
            <a:rPr lang="en-US" sz="1800" b="1" kern="1200" dirty="0" smtClean="0"/>
            <a:t>optimize</a:t>
          </a:r>
          <a:r>
            <a:rPr lang="en-US" sz="1800" kern="1200" dirty="0" smtClean="0"/>
            <a:t> founder’s terms</a:t>
          </a:r>
          <a:endParaRPr lang="en-US" sz="1800" kern="1200" dirty="0"/>
        </a:p>
      </dsp:txBody>
      <dsp:txXfrm>
        <a:off x="6" y="2819405"/>
        <a:ext cx="1433322" cy="1246822"/>
      </dsp:txXfrm>
    </dsp:sp>
    <dsp:sp modelId="{F943D648-910D-4DFF-B891-3EC30010240D}">
      <dsp:nvSpPr>
        <dsp:cNvPr id="0" name=""/>
        <dsp:cNvSpPr/>
      </dsp:nvSpPr>
      <dsp:spPr>
        <a:xfrm>
          <a:off x="2187702" y="3143726"/>
          <a:ext cx="335280" cy="3352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090C8F-67F2-40FD-B525-DDDD9A93658C}">
      <dsp:nvSpPr>
        <dsp:cNvPr id="0" name=""/>
        <dsp:cNvSpPr/>
      </dsp:nvSpPr>
      <dsp:spPr>
        <a:xfrm>
          <a:off x="1828807" y="3733794"/>
          <a:ext cx="1760220" cy="19105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658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Choose</a:t>
          </a:r>
          <a:r>
            <a:rPr lang="en-US" sz="1800" kern="1200" dirty="0" smtClean="0"/>
            <a:t> the best form of business association </a:t>
          </a:r>
          <a:endParaRPr lang="en-US" sz="1800" kern="1200" dirty="0"/>
        </a:p>
      </dsp:txBody>
      <dsp:txXfrm>
        <a:off x="1828807" y="3733794"/>
        <a:ext cx="1760220" cy="1910522"/>
      </dsp:txXfrm>
    </dsp:sp>
    <dsp:sp modelId="{3029F1DF-0670-421B-B796-B256440B1401}">
      <dsp:nvSpPr>
        <dsp:cNvPr id="0" name=""/>
        <dsp:cNvSpPr/>
      </dsp:nvSpPr>
      <dsp:spPr>
        <a:xfrm>
          <a:off x="3926967" y="2245804"/>
          <a:ext cx="444246" cy="444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149A7E-BD17-4A34-ACD3-8BFBAB114421}">
      <dsp:nvSpPr>
        <dsp:cNvPr id="0" name=""/>
        <dsp:cNvSpPr/>
      </dsp:nvSpPr>
      <dsp:spPr>
        <a:xfrm>
          <a:off x="2286002" y="533395"/>
          <a:ext cx="1760220" cy="32375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5397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reate the terms of use allowing the start up to </a:t>
          </a:r>
          <a:r>
            <a:rPr lang="en-US" sz="1800" b="1" kern="1200" dirty="0" smtClean="0"/>
            <a:t>START UP</a:t>
          </a:r>
          <a:r>
            <a:rPr lang="en-US" sz="1800" kern="1200" dirty="0" smtClean="0"/>
            <a:t> in a single day</a:t>
          </a:r>
          <a:endParaRPr lang="en-US" sz="1800" kern="1200" dirty="0"/>
        </a:p>
      </dsp:txBody>
      <dsp:txXfrm>
        <a:off x="2286002" y="533395"/>
        <a:ext cx="1760220" cy="3237547"/>
      </dsp:txXfrm>
    </dsp:sp>
    <dsp:sp modelId="{DF45BB59-889E-4167-B241-F2DD6C405CC6}">
      <dsp:nvSpPr>
        <dsp:cNvPr id="0" name=""/>
        <dsp:cNvSpPr/>
      </dsp:nvSpPr>
      <dsp:spPr>
        <a:xfrm>
          <a:off x="5821299" y="1651730"/>
          <a:ext cx="595122" cy="59512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BA6D95-2417-4BD1-82EB-D4DE4EF002F5}">
      <dsp:nvSpPr>
        <dsp:cNvPr id="0" name=""/>
        <dsp:cNvSpPr/>
      </dsp:nvSpPr>
      <dsp:spPr>
        <a:xfrm>
          <a:off x="5722335" y="2360743"/>
          <a:ext cx="1760220" cy="37561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343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Analyze</a:t>
          </a:r>
          <a:r>
            <a:rPr lang="en-US" sz="1800" kern="1200" dirty="0" smtClean="0"/>
            <a:t>, </a:t>
          </a:r>
          <a:r>
            <a:rPr lang="en-US" sz="1800" b="1" kern="1200" dirty="0" smtClean="0"/>
            <a:t>invest</a:t>
          </a:r>
          <a:r>
            <a:rPr lang="en-US" sz="1800" kern="1200" dirty="0" smtClean="0"/>
            <a:t>, and </a:t>
          </a:r>
          <a:r>
            <a:rPr lang="en-US" sz="1800" b="1" kern="1200" dirty="0" smtClean="0"/>
            <a:t>dynamically</a:t>
          </a:r>
          <a:r>
            <a:rPr lang="en-US" sz="1800" kern="1200" dirty="0" smtClean="0"/>
            <a:t> update ownership and organization as the business evolves through rounds of traditional financing and </a:t>
          </a:r>
          <a:r>
            <a:rPr lang="en-US" sz="1800" b="1" kern="1200" dirty="0" smtClean="0"/>
            <a:t>crowd funding</a:t>
          </a:r>
          <a:endParaRPr lang="en-US" sz="1800" b="1" kern="1200" dirty="0"/>
        </a:p>
      </dsp:txBody>
      <dsp:txXfrm>
        <a:off x="5722335" y="2360743"/>
        <a:ext cx="1760220" cy="37561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595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93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69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346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7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70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896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27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403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809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68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71551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1CFB5E-1311-4346-8C5A-3103D9CE5E0D}" type="datetimeFigureOut">
              <a:rPr lang="en-US" smtClean="0"/>
              <a:t>9/2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1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Layout" Target="../slideLayouts/slideLayout6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diagramData" Target="../diagrams/data2.xml"/><Relationship Id="rId12" Type="http://schemas.openxmlformats.org/officeDocument/2006/relationships/diagramLayout" Target="../diagrams/layout2.xml"/><Relationship Id="rId13" Type="http://schemas.openxmlformats.org/officeDocument/2006/relationships/diagramQuickStyle" Target="../diagrams/quickStyle2.xml"/><Relationship Id="rId14" Type="http://schemas.openxmlformats.org/officeDocument/2006/relationships/diagramColors" Target="../diagrams/colors2.xml"/><Relationship Id="rId15" Type="http://schemas.microsoft.com/office/2007/relationships/diagramDrawing" Target="../diagrams/drawing2.xml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Relationship Id="rId3" Type="http://schemas.openxmlformats.org/officeDocument/2006/relationships/slideLayout" Target="../slideLayouts/slideLayout6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diagramData" Target="../diagrams/data1.xml"/><Relationship Id="rId7" Type="http://schemas.openxmlformats.org/officeDocument/2006/relationships/diagramLayout" Target="../diagrams/layout1.xml"/><Relationship Id="rId8" Type="http://schemas.openxmlformats.org/officeDocument/2006/relationships/diagramQuickStyle" Target="../diagrams/quickStyle1.xml"/><Relationship Id="rId9" Type="http://schemas.openxmlformats.org/officeDocument/2006/relationships/diagramColors" Target="../diagrams/colors1.xml"/><Relationship Id="rId10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6.xml"/><Relationship Id="rId2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272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http://img0.etsystatic.com/012/0/7278987/il_570xN.417209494_ha7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0"/>
            <a:ext cx="8172450" cy="817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-762000" y="2644775"/>
            <a:ext cx="7772400" cy="1470025"/>
          </a:xfrm>
        </p:spPr>
        <p:txBody>
          <a:bodyPr>
            <a:normAutofit/>
          </a:bodyPr>
          <a:lstStyle/>
          <a:p>
            <a:r>
              <a:rPr lang="en-US" sz="4300" dirty="0" err="1"/>
              <a:t>B</a:t>
            </a:r>
            <a:r>
              <a:rPr lang="en-US" sz="4300" dirty="0" err="1" smtClean="0"/>
              <a:t>cology</a:t>
            </a:r>
            <a:r>
              <a:rPr lang="en-US" sz="4300" dirty="0" smtClean="0"/>
              <a:t> </a:t>
            </a:r>
            <a:endParaRPr lang="en-US" sz="43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0" y="3810000"/>
            <a:ext cx="6400800" cy="1752600"/>
          </a:xfrm>
        </p:spPr>
        <p:txBody>
          <a:bodyPr>
            <a:normAutofit/>
          </a:bodyPr>
          <a:lstStyle/>
          <a:p>
            <a:r>
              <a:rPr lang="en-US" sz="2700" dirty="0" smtClean="0">
                <a:solidFill>
                  <a:schemeClr val="tx1"/>
                </a:solidFill>
              </a:rPr>
              <a:t>Business Ecology</a:t>
            </a:r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6974" y="6172200"/>
            <a:ext cx="32508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IT Team </a:t>
            </a:r>
          </a:p>
          <a:p>
            <a:r>
              <a:rPr lang="en-US" dirty="0" smtClean="0"/>
              <a:t>2014 Code the Deal </a:t>
            </a:r>
            <a:r>
              <a:rPr lang="en-US" dirty="0" err="1" smtClean="0"/>
              <a:t>Hackath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4359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utabil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rameters</a:t>
            </a:r>
          </a:p>
        </p:txBody>
      </p:sp>
    </p:spTree>
    <p:extLst>
      <p:ext uri="{BB962C8B-B14F-4D97-AF65-F5344CB8AC3E}">
        <p14:creationId xmlns:p14="http://schemas.microsoft.com/office/powerpoint/2010/main" val="25410060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ity of Legal documen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 opposed to static documents</a:t>
            </a:r>
          </a:p>
        </p:txBody>
      </p:sp>
    </p:spTree>
    <p:extLst>
      <p:ext uri="{BB962C8B-B14F-4D97-AF65-F5344CB8AC3E}">
        <p14:creationId xmlns:p14="http://schemas.microsoft.com/office/powerpoint/2010/main" val="17703926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andar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“System  Aspect”</a:t>
            </a:r>
          </a:p>
          <a:p>
            <a:r>
              <a:rPr lang="en-US" dirty="0" smtClean="0"/>
              <a:t>Allowing All Parties Interoper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045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se of Re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tadata </a:t>
            </a:r>
            <a:r>
              <a:rPr lang="en-US" dirty="0"/>
              <a:t>comprising the contract terms for use in subsequent deals or other relevant transactions</a:t>
            </a:r>
          </a:p>
        </p:txBody>
      </p:sp>
    </p:spTree>
    <p:extLst>
      <p:ext uri="{BB962C8B-B14F-4D97-AF65-F5344CB8AC3E}">
        <p14:creationId xmlns:p14="http://schemas.microsoft.com/office/powerpoint/2010/main" val="24732283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More Information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github.com</a:t>
            </a:r>
            <a:r>
              <a:rPr lang="en-US" dirty="0"/>
              <a:t>/</a:t>
            </a:r>
            <a:r>
              <a:rPr lang="en-US" dirty="0" err="1"/>
              <a:t>HumanDynamics</a:t>
            </a:r>
            <a:r>
              <a:rPr lang="en-US" dirty="0"/>
              <a:t>/</a:t>
            </a:r>
            <a:r>
              <a:rPr lang="en-US"/>
              <a:t>CodeTheDeal</a:t>
            </a:r>
          </a:p>
        </p:txBody>
      </p:sp>
    </p:spTree>
    <p:extLst>
      <p:ext uri="{BB962C8B-B14F-4D97-AF65-F5344CB8AC3E}">
        <p14:creationId xmlns:p14="http://schemas.microsoft.com/office/powerpoint/2010/main" val="3553741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259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>
              <a:latin typeface="Franklin Gothic Book"/>
              <a:sym typeface="Franklin Gothic Book"/>
            </a:endParaRPr>
          </a:p>
        </p:txBody>
      </p:sp>
      <p:sp>
        <p:nvSpPr>
          <p:cNvPr id="37" name="Text Placeholder 5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878138" y="2535238"/>
            <a:ext cx="3387725" cy="17875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61925" tIns="161925" rIns="0" bIns="161925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Vision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Implementation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Live Example</a:t>
            </a:r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052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ision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866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287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474587062"/>
              </p:ext>
            </p:extLst>
          </p:nvPr>
        </p:nvGraphicFramePr>
        <p:xfrm>
          <a:off x="1219200" y="1371600"/>
          <a:ext cx="7010400" cy="530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5522445"/>
              </p:ext>
            </p:extLst>
          </p:nvPr>
        </p:nvGraphicFramePr>
        <p:xfrm>
          <a:off x="1524000" y="1397000"/>
          <a:ext cx="6705600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n Ecosystem of Enabling Startups</a:t>
            </a:r>
            <a:br>
              <a:rPr lang="en-US" dirty="0" smtClean="0"/>
            </a:br>
            <a:r>
              <a:rPr lang="en-US" dirty="0" smtClean="0"/>
              <a:t>Providing the platform f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190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Startup in a box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0199795"/>
              </p:ext>
            </p:extLst>
          </p:nvPr>
        </p:nvGraphicFramePr>
        <p:xfrm>
          <a:off x="609600" y="609600"/>
          <a:ext cx="8382000" cy="617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396904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licon Valley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590800" y="914400"/>
            <a:ext cx="3962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394384" y="1371600"/>
            <a:ext cx="435523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/>
              <a:t>Networked</a:t>
            </a:r>
          </a:p>
          <a:p>
            <a:r>
              <a:rPr lang="en-US" sz="7200" dirty="0" smtClean="0"/>
              <a:t> Economy 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2535415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913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107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ar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Not yet-another-template” </a:t>
            </a:r>
          </a:p>
          <a:p>
            <a:r>
              <a:rPr lang="en-US" dirty="0"/>
              <a:t>inheritance system</a:t>
            </a:r>
          </a:p>
        </p:txBody>
      </p:sp>
    </p:spTree>
    <p:extLst>
      <p:ext uri="{BB962C8B-B14F-4D97-AF65-F5344CB8AC3E}">
        <p14:creationId xmlns:p14="http://schemas.microsoft.com/office/powerpoint/2010/main" val="28240279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F02RdVEaOOjGWx9v0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Ec4XE8eEm_iAFABucT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1</TotalTime>
  <Words>148</Words>
  <Application>Microsoft Macintosh PowerPoint</Application>
  <PresentationFormat>On-screen Show (4:3)</PresentationFormat>
  <Paragraphs>36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Bcology </vt:lpstr>
      <vt:lpstr>Agenda</vt:lpstr>
      <vt:lpstr>Vision</vt:lpstr>
      <vt:lpstr>An Ecosystem of Enabling Startups Providing the platform for</vt:lpstr>
      <vt:lpstr>Startup in a box</vt:lpstr>
      <vt:lpstr>Silicon Valley</vt:lpstr>
      <vt:lpstr>PowerPoint Presentation</vt:lpstr>
      <vt:lpstr>Implementation</vt:lpstr>
      <vt:lpstr>Modularity of Contract Elements</vt:lpstr>
      <vt:lpstr>Computability of Contract Elements</vt:lpstr>
      <vt:lpstr>Dynamicity of Legal document </vt:lpstr>
      <vt:lpstr>Standards</vt:lpstr>
      <vt:lpstr>Ease of Reuse</vt:lpstr>
      <vt:lpstr>For More Information:</vt:lpstr>
    </vt:vector>
  </TitlesOfParts>
  <Company>M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 Upper</dc:title>
  <dc:creator>Xiao Lu</dc:creator>
  <cp:lastModifiedBy>Dazza Greenwood</cp:lastModifiedBy>
  <cp:revision>11</cp:revision>
  <dcterms:created xsi:type="dcterms:W3CDTF">2014-09-18T17:18:42Z</dcterms:created>
  <dcterms:modified xsi:type="dcterms:W3CDTF">2014-09-20T17:48:58Z</dcterms:modified>
</cp:coreProperties>
</file>